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00" r:id="rId1"/>
  </p:sldMasterIdLst>
  <p:notesMasterIdLst>
    <p:notesMasterId r:id="rId7"/>
  </p:notesMasterIdLst>
  <p:handoutMasterIdLst>
    <p:handoutMasterId r:id="rId8"/>
  </p:handoutMasterIdLst>
  <p:sldIdLst>
    <p:sldId id="271" r:id="rId2"/>
    <p:sldId id="291" r:id="rId3"/>
    <p:sldId id="290" r:id="rId4"/>
    <p:sldId id="293" r:id="rId5"/>
    <p:sldId id="294" r:id="rId6"/>
  </p:sldIdLst>
  <p:sldSz cx="12192000" cy="6858000"/>
  <p:notesSz cx="7023100" cy="93091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3E0"/>
    <a:srgbClr val="FF530D"/>
    <a:srgbClr val="2B3A42"/>
    <a:srgbClr val="FE8A12"/>
    <a:srgbClr val="3F5765"/>
    <a:srgbClr val="0272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3163" autoAdjust="0"/>
  </p:normalViewPr>
  <p:slideViewPr>
    <p:cSldViewPr>
      <p:cViewPr varScale="1">
        <p:scale>
          <a:sx n="87" d="100"/>
          <a:sy n="87" d="100"/>
        </p:scale>
        <p:origin x="518" y="7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42"/>
    </p:cViewPr>
  </p:sorterViewPr>
  <p:notesViewPr>
    <p:cSldViewPr>
      <p:cViewPr varScale="1">
        <p:scale>
          <a:sx n="62" d="100"/>
          <a:sy n="62" d="100"/>
        </p:scale>
        <p:origin x="3120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1"/>
            <a:ext cx="3848659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0"/>
            <a:ext cx="3848659" cy="156667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12/25/2018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5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  <p:grpSp>
        <p:nvGrpSpPr>
          <p:cNvPr id="13" name="Group 12"/>
          <p:cNvGrpSpPr/>
          <p:nvPr/>
        </p:nvGrpSpPr>
        <p:grpSpPr>
          <a:xfrm>
            <a:off x="5225906" y="285481"/>
            <a:ext cx="1328988" cy="362143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820413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12/2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1600" y="7061200"/>
            <a:ext cx="2687638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1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325790" y="285481"/>
            <a:ext cx="1328988" cy="362143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17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615748" y="6419366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6" name="Rectangle 5"/>
            <p:cNvSpPr/>
            <p:nvPr/>
          </p:nvSpPr>
          <p:spPr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946623" y="835016"/>
            <a:ext cx="1816547" cy="49994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Table</a:t>
            </a:r>
            <a:r>
              <a:rPr lang="en-US" sz="2800" b="1" baseline="0" dirty="0">
                <a:solidFill>
                  <a:schemeClr val="bg1"/>
                </a:solidFill>
              </a:rPr>
              <a:t> of Content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28pt Arial Bold Title Case</a:t>
            </a:r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/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Arial sentence case</a:t>
            </a:r>
          </a:p>
        </p:txBody>
      </p:sp>
    </p:spTree>
    <p:extLst/>
  </p:cSld>
  <p:clrMapOvr>
    <a:masterClrMapping/>
  </p:clrMapOvr>
  <p:transition spd="med">
    <p:fade/>
  </p:transition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sentence ca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</p:spTree>
    <p:extLst/>
  </p:cSld>
  <p:clrMapOvr>
    <a:masterClrMapping/>
  </p:clrMapOvr>
  <p:transition spd="med"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2C272-AF31-448C-A49B-0F88D1C9E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ED3453-C110-4ED0-B400-F2DBD1E92C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C0653A-6B5B-4712-BA31-D9FCE998DD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1958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609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3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9" name="Rectangle 8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496691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084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83442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048081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" name="think-cell Slide" r:id="rId21" imgW="180" imgH="180" progId="TCLayout.ActiveDocument.1">
                  <p:embed/>
                </p:oleObj>
              </mc:Choice>
              <mc:Fallback>
                <p:oleObj name="think-cell Slide" r:id="rId21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12420545" y="0"/>
            <a:ext cx="284385" cy="5779689"/>
            <a:chOff x="12420545" y="0"/>
            <a:chExt cx="284385" cy="5779689"/>
          </a:xfrm>
        </p:grpSpPr>
        <p:sp>
          <p:nvSpPr>
            <p:cNvPr id="4" name="Rectangle 3"/>
            <p:cNvSpPr/>
            <p:nvPr userDrawn="1"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 userDrawn="1"/>
          </p:nvSpPr>
          <p:spPr bwMode="gray">
            <a:xfrm>
              <a:off x="12420545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 userDrawn="1"/>
          </p:nvSpPr>
          <p:spPr bwMode="gray">
            <a:xfrm>
              <a:off x="12420545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 bwMode="gray">
            <a:xfrm>
              <a:off x="12420545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 bwMode="gray">
            <a:xfrm>
              <a:off x="12420545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 bwMode="gray">
            <a:xfrm>
              <a:off x="12420545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 bwMode="gray">
            <a:xfrm>
              <a:off x="12420545" y="2874528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12420545" y="3206436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12420545" y="3853100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12420545" y="4187002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12420545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12420545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12420545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556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8F371C-23FA-4717-A661-DE2636CB79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044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FC5771-09D5-4884-B321-BFD7AECF62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2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50A76833-AB6A-4F3E-9947-06B21464FB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25192" y="1830302"/>
            <a:ext cx="4800600" cy="2286058"/>
          </a:xfrm>
        </p:spPr>
        <p:txBody>
          <a:bodyPr/>
          <a:lstStyle/>
          <a:p>
            <a:r>
              <a:rPr lang="en-US" dirty="0"/>
              <a:t>Rating of Russian distributors,</a:t>
            </a:r>
            <a:br>
              <a:rPr lang="en-US" dirty="0"/>
            </a:br>
            <a:r>
              <a:rPr lang="en-US" dirty="0"/>
              <a:t>1-2Q 2018</a:t>
            </a:r>
          </a:p>
        </p:txBody>
      </p:sp>
    </p:spTree>
    <p:extLst>
      <p:ext uri="{BB962C8B-B14F-4D97-AF65-F5344CB8AC3E}">
        <p14:creationId xmlns:p14="http://schemas.microsoft.com/office/powerpoint/2010/main" val="1375895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5870B97-C27C-446F-A70B-3FF8A94F59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7990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F22556B-4274-4F7E-8296-DA063737D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4521915-5579-4302-8869-5621BAD79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lvl="0"/>
            <a:r>
              <a:rPr lang="en-US" dirty="0"/>
              <a:t>TOP-10 distributors on the market of direct drugs sales (including reimbursement drugs supply), 1-2Q 2018</a:t>
            </a: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EF9B0726-F6DB-4F57-A634-668B11E9A36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9683262"/>
              </p:ext>
            </p:extLst>
          </p:nvPr>
        </p:nvGraphicFramePr>
        <p:xfrm>
          <a:off x="384175" y="1285875"/>
          <a:ext cx="11339514" cy="4884420"/>
        </p:xfrm>
        <a:graphic>
          <a:graphicData uri="http://schemas.openxmlformats.org/drawingml/2006/table">
            <a:tbl>
              <a:tblPr firstRow="1" firstCol="1" lastRow="1" bandRow="1">
                <a:tableStyleId>{5C22544A-7EE6-4342-B048-85BDC9FD1C3A}</a:tableStyleId>
              </a:tblPr>
              <a:tblGrid>
                <a:gridCol w="815281">
                  <a:extLst>
                    <a:ext uri="{9D8B030D-6E8A-4147-A177-3AD203B41FA5}">
                      <a16:colId xmlns:a16="http://schemas.microsoft.com/office/drawing/2014/main" val="1488398742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595782216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212763417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1132509845"/>
                    </a:ext>
                  </a:extLst>
                </a:gridCol>
                <a:gridCol w="3233714">
                  <a:extLst>
                    <a:ext uri="{9D8B030D-6E8A-4147-A177-3AD203B41FA5}">
                      <a16:colId xmlns:a16="http://schemas.microsoft.com/office/drawing/2014/main" val="1047901436"/>
                    </a:ext>
                  </a:extLst>
                </a:gridCol>
                <a:gridCol w="1889919">
                  <a:extLst>
                    <a:ext uri="{9D8B030D-6E8A-4147-A177-3AD203B41FA5}">
                      <a16:colId xmlns:a16="http://schemas.microsoft.com/office/drawing/2014/main" val="3879789708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</a:t>
                      </a:r>
                    </a:p>
                  </a:txBody>
                  <a:tcPr marL="7620" marR="7620" marT="7620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arket share in direct sales of medication, %</a:t>
                      </a: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hange in direct sales of medication 1-2Q 2018/1-2Q 2017, %</a:t>
                      </a:r>
                    </a:p>
                  </a:txBody>
                  <a:tcPr marL="7620" marR="7620" marT="762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e rank of gross sales, 1-2Q 201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7498563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-2Q 2018</a:t>
                      </a:r>
                    </a:p>
                  </a:txBody>
                  <a:tcPr marL="7620" marR="7620" marT="7620" marB="0" anchor="ctr">
                    <a:solidFill>
                      <a:srgbClr val="00A3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-2Q 2017</a:t>
                      </a:r>
                    </a:p>
                  </a:txBody>
                  <a:tcPr marL="7620" marR="7620" marT="7620" marB="0" anchor="ctr">
                    <a:solidFill>
                      <a:srgbClr val="00A3E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0229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te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6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7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4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953951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Katre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6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6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0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37912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uls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5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7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49593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komplek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0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527171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-Pha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6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2846235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K Grand Kapit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1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189333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BS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6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063986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fitm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1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9287020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rvin 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2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212936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vesta Pharmacevtik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6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756227388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3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7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13713786"/>
                  </a:ext>
                </a:extLst>
              </a:tr>
            </a:tbl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9159689-EE9D-4B41-AF7D-EA65466FA7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+mj-lt"/>
              </a:rPr>
              <a:t>Source</a:t>
            </a:r>
            <a:r>
              <a:rPr lang="en-US" dirty="0">
                <a:latin typeface="+mj-lt"/>
              </a:rPr>
              <a:t>: based on data from distributors participating in the rating</a:t>
            </a:r>
            <a:endParaRPr lang="en-US" i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250670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21A57-1402-40B3-BD89-992DD5413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465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4E76C4A8-DDA5-4641-B2EF-6B01E9A04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E6FB2F7C-9588-476B-9771-ED33609B98C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94664948"/>
              </p:ext>
            </p:extLst>
          </p:nvPr>
        </p:nvGraphicFramePr>
        <p:xfrm>
          <a:off x="384175" y="1285875"/>
          <a:ext cx="11339514" cy="41427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15281">
                  <a:extLst>
                    <a:ext uri="{9D8B030D-6E8A-4147-A177-3AD203B41FA5}">
                      <a16:colId xmlns:a16="http://schemas.microsoft.com/office/drawing/2014/main" val="3924684719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2475847527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870549730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3103553007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66141179"/>
                    </a:ext>
                  </a:extLst>
                </a:gridCol>
                <a:gridCol w="2243313">
                  <a:extLst>
                    <a:ext uri="{9D8B030D-6E8A-4147-A177-3AD203B41FA5}">
                      <a16:colId xmlns:a16="http://schemas.microsoft.com/office/drawing/2014/main" val="32050187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 Typ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Head Off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lative retail sales volume, 1-2Q 20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hare of retail sales from the gross sales volume,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558413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Katre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ovosibir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122787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te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9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8800308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uls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Chimki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8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12657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komplek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.Novgoro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2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679596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K Grand Kapit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2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68671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fitm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7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782606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BS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.Petersburg</a:t>
                      </a:r>
                      <a:endParaRPr lang="en-US" sz="1400" b="0" i="0" u="none" strike="noStrike" dirty="0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94570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vesta Pharmacevtik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66989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groresourc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ovosibir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0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76123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Zdravserv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Tul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0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7762584"/>
                  </a:ext>
                </a:extLst>
              </a:tr>
            </a:tbl>
          </a:graphicData>
        </a:graphic>
      </p:graphicFrame>
      <p:sp>
        <p:nvSpPr>
          <p:cNvPr id="13" name="Title 12">
            <a:extLst>
              <a:ext uri="{FF2B5EF4-FFF2-40B4-BE49-F238E27FC236}">
                <a16:creationId xmlns:a16="http://schemas.microsoft.com/office/drawing/2014/main" id="{F09B3984-14F8-4470-A096-A97C087D5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404664"/>
            <a:ext cx="11338560" cy="614252"/>
          </a:xfrm>
        </p:spPr>
        <p:txBody>
          <a:bodyPr/>
          <a:lstStyle/>
          <a:p>
            <a:r>
              <a:rPr lang="en-US" dirty="0"/>
              <a:t>TOP-10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distributors on the retail market,1-2Q 2018</a:t>
            </a:r>
            <a:endParaRPr lang="ru-RU" dirty="0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5FD10F2F-B416-4FB6-8C22-550B10164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+mj-lt"/>
              </a:rPr>
              <a:t>Source</a:t>
            </a:r>
            <a:r>
              <a:rPr lang="en-US" dirty="0">
                <a:latin typeface="+mj-lt"/>
              </a:rPr>
              <a:t>: based on data from distributors participating in the rating</a:t>
            </a:r>
            <a:endParaRPr lang="en-US" i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7755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21A57-1402-40B3-BD89-992DD5413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4013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621A57-1402-40B3-BD89-992DD5413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4E76C4A8-DDA5-4641-B2EF-6B01E9A04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E6FB2F7C-9588-476B-9771-ED33609B98C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50581726"/>
              </p:ext>
            </p:extLst>
          </p:nvPr>
        </p:nvGraphicFramePr>
        <p:xfrm>
          <a:off x="384175" y="1285875"/>
          <a:ext cx="11339514" cy="43561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15281">
                  <a:extLst>
                    <a:ext uri="{9D8B030D-6E8A-4147-A177-3AD203B41FA5}">
                      <a16:colId xmlns:a16="http://schemas.microsoft.com/office/drawing/2014/main" val="3924684719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2475847527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870549730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3103553007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66141179"/>
                    </a:ext>
                  </a:extLst>
                </a:gridCol>
                <a:gridCol w="2243313">
                  <a:extLst>
                    <a:ext uri="{9D8B030D-6E8A-4147-A177-3AD203B41FA5}">
                      <a16:colId xmlns:a16="http://schemas.microsoft.com/office/drawing/2014/main" val="32050187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 Typ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Head Off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lative volume of budget sales, 1-2Q 20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hare of budget sales from the gross sales volume, 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558413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err="1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standard</a:t>
                      </a:r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 *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122787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-Pha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9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8800308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BS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.Petersburg</a:t>
                      </a:r>
                      <a:endParaRPr lang="en-US" sz="1400" b="0" i="0" u="none" strike="noStrike" dirty="0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9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12657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rvin 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679596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armimex *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68671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te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2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782606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Euroserv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26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94570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BIOTEC *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6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66989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Lance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0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76123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stor *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0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7762584"/>
                  </a:ext>
                </a:extLst>
              </a:tr>
            </a:tbl>
          </a:graphicData>
        </a:graphic>
      </p:graphicFrame>
      <p:sp>
        <p:nvSpPr>
          <p:cNvPr id="13" name="Title 12">
            <a:extLst>
              <a:ext uri="{FF2B5EF4-FFF2-40B4-BE49-F238E27FC236}">
                <a16:creationId xmlns:a16="http://schemas.microsoft.com/office/drawing/2014/main" id="{F09B3984-14F8-4470-A096-A97C087D5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404664"/>
            <a:ext cx="11338560" cy="614252"/>
          </a:xfrm>
        </p:spPr>
        <p:txBody>
          <a:bodyPr/>
          <a:lstStyle/>
          <a:p>
            <a:r>
              <a:rPr lang="en-US" dirty="0"/>
              <a:t>TOP-10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distributors on the budget market,1-2Q 2018</a:t>
            </a:r>
            <a:endParaRPr lang="ru-RU" dirty="0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5FD10F2F-B416-4FB6-8C22-550B10164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50413" y="6381328"/>
            <a:ext cx="9116145" cy="338087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+mj-lt"/>
              </a:rPr>
              <a:t>Data based on analysis of IQVIA tender base</a:t>
            </a:r>
          </a:p>
          <a:p>
            <a:r>
              <a:rPr lang="en-US" dirty="0">
                <a:latin typeface="+mj-lt"/>
              </a:rPr>
              <a:t>Source</a:t>
            </a:r>
            <a:r>
              <a:rPr lang="en-US" dirty="0">
                <a:solidFill>
                  <a:schemeClr val="tx1"/>
                </a:solidFill>
                <a:latin typeface="+mj-lt"/>
              </a:rPr>
              <a:t>: IQVIA, </a:t>
            </a:r>
            <a:r>
              <a:rPr lang="en-US" dirty="0">
                <a:latin typeface="+mj-lt"/>
              </a:rPr>
              <a:t>based on data from distributors participating in the rating</a:t>
            </a:r>
            <a:endParaRPr lang="en-US" i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163830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21A57-1402-40B3-BD89-992DD5413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571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621A57-1402-40B3-BD89-992DD5413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4E76C4A8-DDA5-4641-B2EF-6B01E9A04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E6FB2F7C-9588-476B-9771-ED33609B98C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80368791"/>
              </p:ext>
            </p:extLst>
          </p:nvPr>
        </p:nvGraphicFramePr>
        <p:xfrm>
          <a:off x="384175" y="1285875"/>
          <a:ext cx="11339514" cy="43561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15281">
                  <a:extLst>
                    <a:ext uri="{9D8B030D-6E8A-4147-A177-3AD203B41FA5}">
                      <a16:colId xmlns:a16="http://schemas.microsoft.com/office/drawing/2014/main" val="3924684719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2475847527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870549730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3103553007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66141179"/>
                    </a:ext>
                  </a:extLst>
                </a:gridCol>
                <a:gridCol w="2243313">
                  <a:extLst>
                    <a:ext uri="{9D8B030D-6E8A-4147-A177-3AD203B41FA5}">
                      <a16:colId xmlns:a16="http://schemas.microsoft.com/office/drawing/2014/main" val="32050187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 Typ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Head Off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lative volume of secondary distribution, 1-2Q 20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hare of secondary distribution sales from the gross sales volume, 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558413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err="1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Katren</a:t>
                      </a:r>
                      <a:endParaRPr lang="en-US" sz="1400" b="0" i="0" u="none" strike="noStrike" dirty="0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ovosibir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122787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err="1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komplekt</a:t>
                      </a:r>
                      <a:endParaRPr lang="en-US" sz="1400" b="0" i="0" u="none" strike="noStrike" dirty="0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.Novgoro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8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8800308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te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6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12657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-Pha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6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679596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uls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Chimki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53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68671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Lance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4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782606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BS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.Petersbur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4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94570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fitm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66989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Euroserv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76123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K Grand Kapit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7762584"/>
                  </a:ext>
                </a:extLst>
              </a:tr>
            </a:tbl>
          </a:graphicData>
        </a:graphic>
      </p:graphicFrame>
      <p:sp>
        <p:nvSpPr>
          <p:cNvPr id="13" name="Title 12">
            <a:extLst>
              <a:ext uri="{FF2B5EF4-FFF2-40B4-BE49-F238E27FC236}">
                <a16:creationId xmlns:a16="http://schemas.microsoft.com/office/drawing/2014/main" id="{F09B3984-14F8-4470-A096-A97C087D5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404664"/>
            <a:ext cx="11338560" cy="614252"/>
          </a:xfrm>
        </p:spPr>
        <p:txBody>
          <a:bodyPr/>
          <a:lstStyle/>
          <a:p>
            <a:r>
              <a:rPr lang="en-US" dirty="0"/>
              <a:t>TOP-10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distributors on the market of secondary sales,1-2Q 2018</a:t>
            </a:r>
            <a:endParaRPr lang="ru-RU" dirty="0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5FD10F2F-B416-4FB6-8C22-550B10164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50413" y="6381328"/>
            <a:ext cx="9116145" cy="338087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+mj-lt"/>
              </a:rPr>
              <a:t>Source: Data based on analysis of IQVIA tender base</a:t>
            </a:r>
          </a:p>
        </p:txBody>
      </p:sp>
    </p:spTree>
    <p:extLst>
      <p:ext uri="{BB962C8B-B14F-4D97-AF65-F5344CB8AC3E}">
        <p14:creationId xmlns:p14="http://schemas.microsoft.com/office/powerpoint/2010/main" val="2106350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9zS.eSeuIzb9wMAx5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9zS.eSeuIzb9wMAx5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9zS.eSeuIzb9wMAx5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IR4iqMTr6VATIQoImO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kg2djDTyO1vvJ3qMFG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Template_WS_25Oct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D6D3AE25-09A6-4163-973B-96A995BA644F}" vid="{0A71FDC3-78E5-48C9-AB64-F2576A809529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86</TotalTime>
  <Words>542</Words>
  <Application>Microsoft Office PowerPoint</Application>
  <PresentationFormat>Widescreen</PresentationFormat>
  <Paragraphs>280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Arial Narrow</vt:lpstr>
      <vt:lpstr>Georgia</vt:lpstr>
      <vt:lpstr>Wingdings</vt:lpstr>
      <vt:lpstr>IQVIATemplate_WS_25Oct2017</vt:lpstr>
      <vt:lpstr>think-cell Slide</vt:lpstr>
      <vt:lpstr>Rating of Russian distributors, 1-2Q 2018</vt:lpstr>
      <vt:lpstr>TOP-10 distributors on the market of direct drugs sales (including reimbursement drugs supply), 1-2Q 2018</vt:lpstr>
      <vt:lpstr>TOP-10 distributors on the retail market,1-2Q 2018</vt:lpstr>
      <vt:lpstr>TOP-10 distributors on the budget market,1-2Q 2018</vt:lpstr>
      <vt:lpstr>TOP-10 distributors on the market of secondary sales,1-2Q 2018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lina Sudeykina EX1</dc:creator>
  <cp:lastModifiedBy>Guschina, Ekaterina EX1</cp:lastModifiedBy>
  <cp:revision>86</cp:revision>
  <cp:lastPrinted>2017-10-20T15:11:52Z</cp:lastPrinted>
  <dcterms:created xsi:type="dcterms:W3CDTF">2017-11-13T11:28:02Z</dcterms:created>
  <dcterms:modified xsi:type="dcterms:W3CDTF">2018-12-25T09:15:07Z</dcterms:modified>
</cp:coreProperties>
</file>